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284" r:id="rId3"/>
    <p:sldId id="286" r:id="rId4"/>
    <p:sldId id="289" r:id="rId5"/>
    <p:sldId id="290" r:id="rId6"/>
    <p:sldId id="291" r:id="rId7"/>
    <p:sldId id="293" r:id="rId8"/>
    <p:sldId id="294" r:id="rId9"/>
    <p:sldId id="295" r:id="rId10"/>
    <p:sldId id="296" r:id="rId11"/>
    <p:sldId id="287" r:id="rId12"/>
    <p:sldId id="297" r:id="rId13"/>
    <p:sldId id="283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4C16"/>
    <a:srgbClr val="FF7C80"/>
    <a:srgbClr val="FF66FF"/>
    <a:srgbClr val="3A5925"/>
    <a:srgbClr val="F76865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74607" autoAdjust="0"/>
  </p:normalViewPr>
  <p:slideViewPr>
    <p:cSldViewPr snapToGrid="0">
      <p:cViewPr varScale="1">
        <p:scale>
          <a:sx n="65" d="100"/>
          <a:sy n="65" d="100"/>
        </p:scale>
        <p:origin x="1805" y="4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2227" y="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CE4C1-ED51-48CD-B71C-CB491FD0472C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6D9D3-0D35-4330-8A79-32B65B19D1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7449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E700F6-5DE9-4EA4-BCDA-63361F47789C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DB7137-448F-4F48-9090-F5E0889B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269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425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Một</a:t>
            </a:r>
            <a:r>
              <a:rPr lang="en-US" baseline="0" smtClean="0"/>
              <a:t> cách đơn giản nhất tạo ra class singleton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2037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Tuy nhiên</a:t>
            </a:r>
            <a:r>
              <a:rPr lang="en-US" baseline="0" smtClean="0"/>
              <a:t> người dùng có rất nhiều cách dùng khác nhau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134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Bằng</a:t>
            </a:r>
            <a:r>
              <a:rPr lang="en-US" baseline="0" smtClean="0"/>
              <a:t> cách hide destructor method, copy constructor và oprator assignment. Hạn chế được việc tạo objec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90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Trong khi sử</a:t>
            </a:r>
            <a:r>
              <a:rPr lang="en-US" baseline="0" smtClean="0"/>
              <a:t> dụng multi-thread. Singleton class đã tạo hơn 1 object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329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Create object when</a:t>
            </a:r>
            <a:r>
              <a:rPr lang="en-US" baseline="0" smtClean="0"/>
              <a:t> application starting up. Init ti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468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Create when</a:t>
            </a:r>
            <a:r>
              <a:rPr lang="en-US" baseline="0" smtClean="0"/>
              <a:t> application starting up, defining instance variable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6447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Use</a:t>
            </a:r>
            <a:r>
              <a:rPr lang="en-US" baseline="0" smtClean="0"/>
              <a:t> the static variable. Need move destructor to public and do not do anything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265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Use</a:t>
            </a:r>
            <a:r>
              <a:rPr lang="en-US" baseline="0" smtClean="0"/>
              <a:t> the mutex. It make access data slow than norm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339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533" y="385762"/>
            <a:ext cx="7857067" cy="1578504"/>
          </a:xfrm>
        </p:spPr>
        <p:txBody>
          <a:bodyPr anchor="b">
            <a:normAutofit/>
          </a:bodyPr>
          <a:lstStyle>
            <a:lvl1pPr algn="ctr">
              <a:defRPr sz="3600">
                <a:ln>
                  <a:noFill/>
                </a:ln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Repor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30399" y="1964266"/>
            <a:ext cx="5249334" cy="846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/>
          <p:cNvSpPr txBox="1">
            <a:spLocks/>
          </p:cNvSpPr>
          <p:nvPr userDrawn="1"/>
        </p:nvSpPr>
        <p:spPr>
          <a:xfrm>
            <a:off x="1985434" y="5778766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C DCV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31269" y="2709069"/>
            <a:ext cx="4157662" cy="1666875"/>
          </a:xfrm>
        </p:spPr>
        <p:txBody>
          <a:bodyPr/>
          <a:lstStyle>
            <a:lvl1pPr marL="514350" indent="-514350">
              <a:buFont typeface="+mj-lt"/>
              <a:buAutoNum type="arabicPeriod"/>
              <a:defRPr sz="22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 smtClean="0"/>
              <a:t>Content 1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Subtitle 2"/>
          <p:cNvSpPr txBox="1">
            <a:spLocks/>
          </p:cNvSpPr>
          <p:nvPr userDrawn="1"/>
        </p:nvSpPr>
        <p:spPr>
          <a:xfrm>
            <a:off x="1930399" y="2239168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985434" y="5225257"/>
            <a:ext cx="5194299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1"/>
            </a:lvl1pPr>
          </a:lstStyle>
          <a:p>
            <a:pPr lvl="0"/>
            <a:r>
              <a:rPr lang="en-US" dirty="0" smtClean="0"/>
              <a:t>2016.08.29</a:t>
            </a:r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531269" y="2337594"/>
            <a:ext cx="4157662" cy="371475"/>
          </a:xfrm>
          <a:prstGeom prst="rect">
            <a:avLst/>
          </a:prstGeom>
          <a:solidFill>
            <a:srgbClr val="7B9A9F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89965" tIns="45702" rIns="89965" bIns="45702" anchor="ctr"/>
          <a:lstStyle/>
          <a:p>
            <a:pPr algn="ctr" defTabSz="912813">
              <a:defRPr/>
            </a:pPr>
            <a:r>
              <a:rPr lang="en-US" altLang="ko-KR" sz="2000" b="1" dirty="0" smtClean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Table of Contents</a:t>
            </a:r>
            <a:endParaRPr lang="ko-KR" altLang="en-US" sz="2000" b="1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969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41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660402"/>
            <a:ext cx="855345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37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1733" y="930807"/>
            <a:ext cx="4193117" cy="53429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930806"/>
            <a:ext cx="4246034" cy="53429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07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1"/>
            <a:ext cx="8652933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749829"/>
            <a:ext cx="426958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599" y="1637769"/>
            <a:ext cx="4269583" cy="4627564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749821"/>
            <a:ext cx="425238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637753"/>
            <a:ext cx="4252382" cy="46275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228599" y="702733"/>
            <a:ext cx="8646585" cy="47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525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568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743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504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689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657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1733" y="76202"/>
            <a:ext cx="8553451" cy="668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733" y="812801"/>
            <a:ext cx="8553451" cy="52937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289799" y="85715"/>
            <a:ext cx="15853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en-US" sz="14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used only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07457" y="6106580"/>
            <a:ext cx="8467727" cy="736600"/>
            <a:chOff x="407457" y="6225118"/>
            <a:chExt cx="8467727" cy="736600"/>
          </a:xfrm>
        </p:grpSpPr>
        <p:pic>
          <p:nvPicPr>
            <p:cNvPr id="7" name="Picture 15" descr="C:\Users\Administrator\Desktop\BCG\BCG 3.0\로고\LG_CI_3D_RGB_Standard.png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833784" y="6225118"/>
              <a:ext cx="1041400" cy="736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Box 8"/>
            <p:cNvSpPr txBox="1"/>
            <p:nvPr userDrawn="1"/>
          </p:nvSpPr>
          <p:spPr>
            <a:xfrm>
              <a:off x="407457" y="6482821"/>
              <a:ext cx="2446868" cy="22119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lang="en-US" sz="1800" b="1" cap="none" spc="0" dirty="0" smtClean="0">
                  <a:ln>
                    <a:solidFill>
                      <a:srgbClr val="FF0000"/>
                    </a:solidFill>
                  </a:ln>
                  <a:solidFill>
                    <a:srgbClr val="FF0000"/>
                  </a:solidFill>
                  <a:effectLst/>
                  <a:latin typeface="Freestyle Script" panose="030804020302050B0404" pitchFamily="66" charset="0"/>
                  <a:ea typeface="MS Gothic" panose="020B0609070205080204" pitchFamily="49" charset="-128"/>
                </a:rPr>
                <a:t>Be First, Do It Right, Work Smart</a:t>
              </a:r>
              <a:endParaRPr lang="en-US" sz="1800" b="1" cap="none" spc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latin typeface="Freestyle Script" panose="030804020302050B0404" pitchFamily="66" charset="0"/>
                <a:ea typeface="MS Gothic" panose="020B0609070205080204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5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/>
              <a:t>Singleton and </a:t>
            </a:r>
            <a:r>
              <a:rPr lang="en-US" altLang="ko-KR"/>
              <a:t>Flyweight </a:t>
            </a:r>
            <a:r>
              <a:rPr lang="en-US" altLang="ko-KR" smtClean="0"/>
              <a:t>pattern</a:t>
            </a:r>
            <a:endParaRPr lang="ko-KR" alt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455068" y="2761324"/>
            <a:ext cx="4468245" cy="1666875"/>
          </a:xfrm>
        </p:spPr>
        <p:txBody>
          <a:bodyPr>
            <a:normAutofit/>
          </a:bodyPr>
          <a:lstStyle/>
          <a:p>
            <a:r>
              <a:rPr lang="en-US" altLang="ko-KR"/>
              <a:t>Singleton </a:t>
            </a:r>
            <a:r>
              <a:rPr lang="en-US" altLang="ko-KR" smtClean="0"/>
              <a:t>pattern</a:t>
            </a:r>
          </a:p>
          <a:p>
            <a:r>
              <a:rPr lang="en-US" altLang="ko-KR"/>
              <a:t>Flyweight pattern</a:t>
            </a:r>
            <a:endParaRPr lang="en-US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mtClean="0"/>
              <a:t>2018.08.23</a:t>
            </a:r>
            <a:endParaRPr lang="en-US" smtClean="0"/>
          </a:p>
          <a:p>
            <a:endParaRPr lang="en-US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2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4 Approach to use singleton in multi-thread 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33" y="745068"/>
            <a:ext cx="8218714" cy="574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13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2. </a:t>
            </a:r>
            <a:r>
              <a:rPr lang="en-US" smtClean="0"/>
              <a:t>Flyweight pattern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733" y="1388877"/>
            <a:ext cx="3138155" cy="26840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4198" y="1305598"/>
            <a:ext cx="4690986" cy="2810831"/>
          </a:xfrm>
          <a:prstGeom prst="rect">
            <a:avLst/>
          </a:prstGeom>
        </p:spPr>
      </p:pic>
      <p:sp>
        <p:nvSpPr>
          <p:cNvPr id="9" name="Right Arrow 8"/>
          <p:cNvSpPr/>
          <p:nvPr/>
        </p:nvSpPr>
        <p:spPr>
          <a:xfrm>
            <a:off x="3712029" y="2567595"/>
            <a:ext cx="472169" cy="32657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621993" y="4455096"/>
            <a:ext cx="72531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/>
              <a:t>A flyweight is a shared object that can be used in multiple contexts simultaneously. The flyweight acts as an independent object in each context — it’s indistinguishable from an instance of the object that’s not share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733" y="4176512"/>
            <a:ext cx="1264082" cy="120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44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2.1 Flyweight examp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See source co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396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nd…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6" y="3046714"/>
            <a:ext cx="8553451" cy="52937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b="1">
                <a:solidFill>
                  <a:srgbClr val="FF0000"/>
                </a:solidFill>
              </a:rPr>
              <a:t>Thank you</a:t>
            </a:r>
            <a:r>
              <a:rPr lang="en-US" sz="3600" b="1" smtClean="0">
                <a:solidFill>
                  <a:srgbClr val="FF0000"/>
                </a:solidFill>
              </a:rPr>
              <a:t>!</a:t>
            </a:r>
            <a:endParaRPr lang="en-US" sz="36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69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1</a:t>
            </a:r>
            <a:r>
              <a:rPr lang="en-US" smtClean="0"/>
              <a:t>.</a:t>
            </a:r>
            <a:r>
              <a:rPr lang="en-US" altLang="ko-KR"/>
              <a:t> </a:t>
            </a:r>
            <a:r>
              <a:rPr lang="en-US" altLang="ko-KR"/>
              <a:t>Singleton </a:t>
            </a:r>
            <a:r>
              <a:rPr lang="en-US" altLang="ko-KR" smtClean="0"/>
              <a:t>pattern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733" y="1774449"/>
            <a:ext cx="6208259" cy="176341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33" y="4421450"/>
            <a:ext cx="6208259" cy="170448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00743" y="1099457"/>
            <a:ext cx="5921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/>
              <a:t>A. Using new to get object</a:t>
            </a:r>
            <a:endParaRPr lang="en-US" b="1"/>
          </a:p>
        </p:txBody>
      </p:sp>
      <p:sp>
        <p:nvSpPr>
          <p:cNvPr id="13" name="TextBox 12"/>
          <p:cNvSpPr txBox="1"/>
          <p:nvPr/>
        </p:nvSpPr>
        <p:spPr>
          <a:xfrm>
            <a:off x="321733" y="3794988"/>
            <a:ext cx="5921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B</a:t>
            </a:r>
            <a:r>
              <a:rPr lang="en-US" b="1" smtClean="0"/>
              <a:t>. Using getInstance to get object (Singleton)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361571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1</a:t>
            </a:r>
            <a:r>
              <a:rPr lang="en-US" altLang="ko-KR" smtClean="0"/>
              <a:t> </a:t>
            </a:r>
            <a:r>
              <a:rPr lang="en-US" altLang="ko-KR"/>
              <a:t>Singleton </a:t>
            </a:r>
            <a:r>
              <a:rPr lang="en-US" altLang="ko-KR" smtClean="0"/>
              <a:t>pattern implementation</a:t>
            </a:r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22263" y="790159"/>
            <a:ext cx="8553450" cy="46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12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2 </a:t>
            </a:r>
            <a:r>
              <a:rPr lang="en-US" altLang="ko-KR" smtClean="0"/>
              <a:t>Singleton </a:t>
            </a:r>
            <a:r>
              <a:rPr lang="en-US" altLang="ko-KR"/>
              <a:t>pattern </a:t>
            </a:r>
            <a:r>
              <a:rPr lang="en-US" altLang="ko-KR" smtClean="0"/>
              <a:t>not create once</a:t>
            </a:r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61218" y="1102189"/>
            <a:ext cx="6067879" cy="394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59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2 Fix s</a:t>
            </a:r>
            <a:r>
              <a:rPr lang="en-US" altLang="ko-KR" smtClean="0"/>
              <a:t>ingleton </a:t>
            </a:r>
            <a:r>
              <a:rPr lang="en-US" altLang="ko-KR"/>
              <a:t>pattern not create once</a:t>
            </a:r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22263" y="1431541"/>
            <a:ext cx="8553450" cy="405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22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mtClean="0"/>
              <a:t>1.3 </a:t>
            </a:r>
            <a:r>
              <a:rPr lang="en-US" altLang="ko-KR" smtClean="0"/>
              <a:t>Singleton </a:t>
            </a:r>
            <a:r>
              <a:rPr lang="en-US" altLang="ko-KR"/>
              <a:t>pattern not </a:t>
            </a:r>
            <a:r>
              <a:rPr lang="en-US" altLang="ko-KR"/>
              <a:t>create </a:t>
            </a:r>
            <a:r>
              <a:rPr lang="en-US" altLang="ko-KR" smtClean="0"/>
              <a:t>once in multithread</a:t>
            </a:r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49131" y="1099456"/>
            <a:ext cx="8098653" cy="4343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75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4 Approach to use singleton in multi-thread </a:t>
            </a:r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21733" y="1066802"/>
            <a:ext cx="8540508" cy="3543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208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4 Approach to use singleton in multi-thread 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33" y="1240972"/>
            <a:ext cx="8194312" cy="3786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80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1.4 Approach to use singleton in multi-thread 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33" y="745068"/>
            <a:ext cx="8667750" cy="605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04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VI_DCV_VW_MIB2-BAP_IDR_161212.pptx" id="{3CF5EF5D-E86E-4B1B-981B-3E186389EE68}" vid="{C47D852D-BBFA-4F50-B56C-D6859B538F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[VT] [PROJECT_NAME] MeetingMinutes v1.00</Template>
  <TotalTime>1463</TotalTime>
  <Words>244</Words>
  <Application>Microsoft Office PowerPoint</Application>
  <PresentationFormat>On-screen Show (4:3)</PresentationFormat>
  <Paragraphs>38</Paragraphs>
  <Slides>13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돋움</vt:lpstr>
      <vt:lpstr>맑은 고딕</vt:lpstr>
      <vt:lpstr>MS Gothic</vt:lpstr>
      <vt:lpstr>Arial</vt:lpstr>
      <vt:lpstr>Arial Black</vt:lpstr>
      <vt:lpstr>Calibri</vt:lpstr>
      <vt:lpstr>Freestyle Script</vt:lpstr>
      <vt:lpstr>Wingdings</vt:lpstr>
      <vt:lpstr>Office Theme</vt:lpstr>
      <vt:lpstr>Singleton and Flyweight pattern</vt:lpstr>
      <vt:lpstr>1. Singleton pattern</vt:lpstr>
      <vt:lpstr>1.1 Singleton pattern implementation</vt:lpstr>
      <vt:lpstr>1.2 Singleton pattern not create once</vt:lpstr>
      <vt:lpstr>1.2 Fix singleton pattern not create once</vt:lpstr>
      <vt:lpstr>1.3 Singleton pattern not create once in multithread</vt:lpstr>
      <vt:lpstr>1.4 Approach to use singleton in multi-thread </vt:lpstr>
      <vt:lpstr>1.4 Approach to use singleton in multi-thread </vt:lpstr>
      <vt:lpstr>1.4 Approach to use singleton in multi-thread </vt:lpstr>
      <vt:lpstr>1.4 Approach to use singleton in multi-thread </vt:lpstr>
      <vt:lpstr>2. Flyweight pattern</vt:lpstr>
      <vt:lpstr>2.1 Flyweight example</vt:lpstr>
      <vt:lpstr>End…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/c meeting Report</dc:title>
  <dc:creator>HANG NGUYEN/LGEVH VC IVI VALIDATION TEST(diemhang.nguyen@lge.com)</dc:creator>
  <cp:lastModifiedBy>TUNG DUC NGUYEN/LGEVH VC SOFTWARE DEVELOPMENT 1(tung2.nguyen@lge.com)</cp:lastModifiedBy>
  <cp:revision>193</cp:revision>
  <dcterms:created xsi:type="dcterms:W3CDTF">2017-04-27T01:41:20Z</dcterms:created>
  <dcterms:modified xsi:type="dcterms:W3CDTF">2018-08-23T08:10:16Z</dcterms:modified>
</cp:coreProperties>
</file>